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48" r:id="rId2"/>
  </p:sldMasterIdLst>
  <p:notesMasterIdLst>
    <p:notesMasterId r:id="rId6"/>
  </p:notesMasterIdLst>
  <p:sldIdLst>
    <p:sldId id="257" r:id="rId3"/>
    <p:sldId id="258" r:id="rId4"/>
    <p:sldId id="259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54" autoAdjust="0"/>
    <p:restoredTop sz="95448" autoAdjust="0"/>
  </p:normalViewPr>
  <p:slideViewPr>
    <p:cSldViewPr snapToGrid="0">
      <p:cViewPr varScale="1">
        <p:scale>
          <a:sx n="87" d="100"/>
          <a:sy n="87" d="100"/>
        </p:scale>
        <p:origin x="56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3F308-9216-4372-9367-7A54E6473C4B}" type="datetimeFigureOut">
              <a:t>1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E08C85-9CAB-44A7-8EA7-10A9827351D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8138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rnelisnetworks-my.sharepoint.com/:w:/p/mjacobs/EVaaXgl_mmlDq8R8WNZ-xuoB2kSscZX5zO2MRc_lbQN8kA?e=94j1FH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Source document: </a:t>
            </a:r>
            <a:r>
              <a:rPr lang="en-US">
                <a:hlinkClick r:id="rId3"/>
              </a:rPr>
              <a:t>https://cornelisnetworks-my.sharepoint.com/:w:/p/mjacobs/EVaaXgl_mmlDq8R8WNZ-xuoB2kSscZX5zO2MRc_lbQN8kA?e=94j1FH</a:t>
            </a:r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2EB183-AAB5-6D49-A237-C4EC236D38B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6157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Penguin Solutions: Slide 7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C289F6-DAF7-44FC-9665-030AE609FB6B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923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Penguin Solutions: slide 8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C289F6-DAF7-44FC-9665-030AE609FB6B}" type="slidenum"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9718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000" y="4662130"/>
            <a:ext cx="10454968" cy="926783"/>
          </a:xfrm>
        </p:spPr>
        <p:txBody>
          <a:bodyPr anchor="b">
            <a:noAutofit/>
          </a:bodyPr>
          <a:lstStyle>
            <a:lvl1pPr algn="l">
              <a:defRPr sz="4500"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8000" y="5727292"/>
            <a:ext cx="10454967" cy="699577"/>
          </a:xfrm>
        </p:spPr>
        <p:txBody>
          <a:bodyPr/>
          <a:lstStyle>
            <a:lvl1pPr marL="0" indent="0" algn="l">
              <a:buNone/>
              <a:defRPr sz="2333"/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657BBC1-6E14-4C38-B819-A84E923F99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E6C1CE9-CA16-4E00-B543-F2BB93F46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5210FB-2B77-466E-AADE-71763B689D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94716" y="1665366"/>
            <a:ext cx="7402568" cy="2553886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E3F366F-CF80-4BE4-B3E0-08B3A646E4AD}"/>
              </a:ext>
            </a:extLst>
          </p:cNvPr>
          <p:cNvSpPr/>
          <p:nvPr userDrawn="1"/>
        </p:nvSpPr>
        <p:spPr>
          <a:xfrm>
            <a:off x="9668388" y="1"/>
            <a:ext cx="2523613" cy="9094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430386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E438CDC-38B4-CB43-A6A5-250C2581F63F}" type="datetime1">
              <a:rPr lang="en-US" smtClean="0"/>
              <a:t>1/3/2024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808882C8-0B15-40F6-AA8F-26E79E8581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B64A1A2-39BE-4E8D-9FE8-F9BB4E28F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465B068-9BC8-4F1B-B5AE-EADB83883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80390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2183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AB8B776-2B1F-8B4E-8948-B5242F35C18E}" type="datetime1">
              <a:rPr lang="en-US" smtClean="0"/>
              <a:t>1/3/2024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C5849CE2-5867-4448-A29F-4D603A7900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95A05B1-92B5-4610-9224-FAA916CA7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41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1951" y="1558457"/>
            <a:ext cx="11248102" cy="428498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1951" y="6186446"/>
            <a:ext cx="11248102" cy="220894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pitchFamily="34" charset="0"/>
              <a:buNone/>
              <a:defRPr sz="1067">
                <a:solidFill>
                  <a:srgbClr val="93A0A7"/>
                </a:solidFill>
                <a:latin typeface="+mn-lt"/>
              </a:defRPr>
            </a:lvl1pPr>
            <a:lvl2pPr marL="228586" indent="-152390">
              <a:defRPr sz="1200"/>
            </a:lvl2pPr>
            <a:lvl3pPr marL="457171" indent="-152390">
              <a:defRPr sz="1200"/>
            </a:lvl3pPr>
            <a:lvl4pPr marL="685755" indent="-152390">
              <a:defRPr sz="1200"/>
            </a:lvl4pPr>
            <a:lvl5pPr marL="914341" indent="-152390">
              <a:defRPr sz="1200"/>
            </a:lvl5pPr>
          </a:lstStyle>
          <a:p>
            <a:pPr lvl="0"/>
            <a:r>
              <a:rPr lang="en-US"/>
              <a:t>Click to edit footnot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EB64E3D-D86C-446A-94AB-234D079A34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C953A9B-71A1-4B92-AD64-05498A2966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59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9CF0897-CBB2-440C-B19B-8054BAE46B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F65333-A251-2E4F-BF0B-AD69906E15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73064" y="6034528"/>
            <a:ext cx="1975834" cy="643643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DEC317-E565-B041-8E54-80E58116DC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894C07-2AB0-084F-BA18-F75D8F96857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ABCA81-3D26-424C-BE47-FE0BFD4E0D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3089" y="1095468"/>
            <a:ext cx="5957711" cy="1457607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647513-A9E7-CF4C-A9EC-4C06136294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3089" y="2751018"/>
            <a:ext cx="5115739" cy="1390945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heading text…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450C25-E4B4-2A4F-8417-BA54CF3F1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© Cornelis Networks | Confidentia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203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C5F51-47BD-4D58-A07D-C40FED5C28F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609600" y="1121603"/>
            <a:ext cx="10972800" cy="32506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56325" y="6632105"/>
            <a:ext cx="3079351" cy="2340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33">
                <a:solidFill>
                  <a:srgbClr val="FFFFFF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149195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183" y="277838"/>
            <a:ext cx="11083636" cy="64633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hp_SDPTitle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314028" indent="-314028">
              <a:defRPr/>
            </a:lvl1pPr>
          </a:lstStyle>
          <a:p>
            <a:pPr marL="0" indent="0"/>
            <a:r>
              <a:rPr lang="en-US"/>
              <a:t>19 April 2016</a:t>
            </a:r>
          </a:p>
        </p:txBody>
      </p:sp>
      <p:sp>
        <p:nvSpPr>
          <p:cNvPr id="5" name="shp_Pres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hp_Folio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40FF2-FFFD-41B2-ABEF-2650AB17DA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54183" y="1050655"/>
            <a:ext cx="11083636" cy="2156488"/>
          </a:xfrm>
        </p:spPr>
        <p:txBody>
          <a:bodyPr/>
          <a:lstStyle>
            <a:lvl1pPr>
              <a:defRPr sz="1600"/>
            </a:lvl1pPr>
            <a:lvl2pPr>
              <a:buClr>
                <a:schemeClr val="accent1"/>
              </a:buClr>
              <a:defRPr sz="1600"/>
            </a:lvl2pPr>
            <a:lvl3pPr>
              <a:spcBef>
                <a:spcPts val="400"/>
              </a:spcBef>
              <a:defRPr sz="1600"/>
            </a:lvl3pPr>
            <a:lvl4pPr>
              <a:spcBef>
                <a:spcPts val="400"/>
              </a:spcBef>
              <a:defRPr sz="1600"/>
            </a:lvl4pPr>
            <a:lvl5pPr>
              <a:spcBef>
                <a:spcPts val="400"/>
              </a:spcBef>
              <a:defRPr sz="1600"/>
            </a:lvl5pPr>
            <a:lvl6pPr>
              <a:spcBef>
                <a:spcPts val="400"/>
              </a:spcBef>
              <a:defRPr sz="1600"/>
            </a:lvl6pPr>
            <a:lvl7pPr>
              <a:spcBef>
                <a:spcPts val="400"/>
              </a:spcBef>
              <a:defRPr sz="1600"/>
            </a:lvl7pPr>
          </a:lstStyle>
          <a:p>
            <a:pPr lvl="0"/>
            <a:r>
              <a:rPr lang="en-US" noProof="0"/>
              <a:t>Message Text</a:t>
            </a:r>
          </a:p>
          <a:p>
            <a:pPr lvl="1"/>
            <a:r>
              <a:rPr lang="en-US" noProof="0"/>
              <a:t>Bullet 1</a:t>
            </a:r>
          </a:p>
          <a:p>
            <a:pPr lvl="2"/>
            <a:r>
              <a:rPr lang="en-US" noProof="0"/>
              <a:t>Bullet 2</a:t>
            </a:r>
          </a:p>
          <a:p>
            <a:pPr lvl="3"/>
            <a:r>
              <a:rPr lang="en-US" noProof="0"/>
              <a:t>Bullet 3</a:t>
            </a:r>
          </a:p>
          <a:p>
            <a:pPr lvl="4"/>
            <a:r>
              <a:rPr lang="en-US" noProof="0"/>
              <a:t>Bullet 4</a:t>
            </a:r>
          </a:p>
          <a:p>
            <a:pPr lvl="5"/>
            <a:r>
              <a:rPr lang="en-US" noProof="0"/>
              <a:t>Bullet 5</a:t>
            </a:r>
          </a:p>
          <a:p>
            <a:pPr lvl="6"/>
            <a:r>
              <a:rPr lang="en-US" noProof="0"/>
              <a:t>Normal Text</a:t>
            </a:r>
          </a:p>
        </p:txBody>
      </p:sp>
    </p:spTree>
    <p:extLst>
      <p:ext uri="{BB962C8B-B14F-4D97-AF65-F5344CB8AC3E}">
        <p14:creationId xmlns:p14="http://schemas.microsoft.com/office/powerpoint/2010/main" val="4254032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C5BD3D-5BE7-55B9-9084-F139D8BB9A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D6169D-9728-7CD5-E015-C3FE92CE3C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0061A7-89A6-F2AA-B79A-871BB5784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4AA922-8E95-8EC7-32E1-F718D1E32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8BF71D-7FA6-1E0D-EBA5-12505FF70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6130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8D043-DF7E-5E63-AE39-8DB795ABA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6D54D1-D6DB-CB9C-5F46-9FC3BFB2FF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17B0EA-76B9-7F09-4F30-4715F7C93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6F0914-037E-B807-29B7-DD21B2FCA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CFC278-FC33-1464-640E-69B08E1DE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2564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879F3B-BD97-ECBB-6919-93887D478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E47A73-0FEE-C0E8-C42E-FEAAB58191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AB8A57-4BA0-92F7-F1B8-4B2D9F69CD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3F5671-AA89-0AEA-F51B-14125418C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9047B1-C9B2-E6BB-63AA-A39CEC158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9122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8D024-37CD-52E7-D505-D247B5E38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9FCFD3-5185-EA3F-20F6-A45DCF2B30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7280CC-93F7-8648-80CC-880094A9A2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EB89E9-F446-1049-06C2-08867986FC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BB1336-692C-5EF1-3643-5DE496A7C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FC425B-73C4-7F4B-8080-D85996BB4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477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5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2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8454AA2-442A-2647-8813-76E633759921}" type="datetime1">
              <a:rPr lang="en-US" smtClean="0"/>
              <a:t>1/3/2024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37D7127E-5F4F-4DAD-8088-32E14A520E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217B0AF-E4F9-498B-80A3-6AC61492B5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1947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D51DA-C9A3-A880-24E9-C05E3602A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8ED707-5442-3E5E-9B89-345AEACBEF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2D5F0E-4CE7-AA44-866F-DD5FDEB408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D40BE8-D4DE-65E3-DD77-FADD464419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C577A31-D422-0D70-C513-FEBBF88D26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D687D54-3775-3EAF-1D0E-1AF8B105E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E4855C-ADB9-58CB-1CDC-1CFFFA352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64F7DC-98CB-4CA4-8D65-48589573F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7262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AD9F7-2AA6-5BEF-1382-B552932E2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A2E3CD-46C2-2C56-AFC7-B8DB1FB79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0149D9-3579-7F16-DAC7-8261A0296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326041-1792-65EE-B18F-808BBCDE8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1854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5839C6-4D1E-86D7-B468-FC881F5A63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F49704-8C38-BBAA-9B81-3FCD18F8A3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CAAD5A-6A48-18D8-5801-3CD601B363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7014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55C53A-899D-87A0-BFF1-B384FBE98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5F6406-CB04-C5E7-4077-1343C1B50C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2084AA-9FBD-B83A-A6EB-3AABD44D76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EB9923-79B5-F284-70C6-7FC8A7AD80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D3C550-CA75-5AE1-64E1-3AD65C6CD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00E6CF-B8DD-0E71-95B2-5BF9160A6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4029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BCCE3-735F-0E2D-198B-87C2EE29B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2FFF283-22D7-9A9B-9D40-355B8F95242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719040-A4B0-7FDD-5913-2F5AA447EE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00EFC1-E9F6-811F-1210-0F16B5BD3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E57F00-D550-791B-E7E1-CB60146E1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1C7659-C3FE-6843-D089-C550632E4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1898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BE6997-C02B-1D34-F2C6-D90948129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ED4252-B251-4C6D-4C06-42B7E82969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30FF5F-9C64-066A-549F-4056D1009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5E4341-8EFA-5C68-239D-BA60CE821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5F66D3-B33D-E8EA-5C0C-27B9539FE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900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682D615-032A-B567-28FB-020B495F6D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E80028-52B6-6662-9EF7-A053737E760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9BBB9F-D5AB-283E-A8ED-9A95018856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BFFAC1-305B-66C8-7941-297FB5DDF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C347B-3DEA-9F8E-D5BF-EBF485BAE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737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B8D8FD2E-4ED6-D349-8183-8E75347A97C0}" type="datetime1">
              <a:rPr lang="en-US" smtClean="0"/>
              <a:t>1/3/2024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8991AAE-BF05-4756-8B6C-BCE284DC78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C3FF831-04F2-4B3A-8B57-0FC28573C5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489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966839"/>
            <a:ext cx="5181600" cy="52101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966839"/>
            <a:ext cx="5181600" cy="52101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245692B-829F-5940-8F0F-A22D36D27B95}" type="datetime1">
              <a:rPr lang="en-US" smtClean="0"/>
              <a:t>1/3/2024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FDEBF03-98FF-4AE4-96BF-1486E41CCE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CF3782C-FFA1-4D3D-97F8-ADFD71F45B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891D0A7-EE9A-4299-83A2-65C3C48166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80390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223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E7D24A2-429D-0F40-9FD2-291C3FBD0E61}" type="datetime1">
              <a:rPr lang="en-US" smtClean="0"/>
              <a:t>1/3/2024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CB16FF-7B53-4317-99FA-47BBF9CDE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20D92F2-1BC6-4EA3-8E31-7B63AB623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1EC76AA-018A-412A-AE11-EFADF48B01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80390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5846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F13EF12-71C1-C849-ACB2-9B5EEB807A05}" type="datetime1">
              <a:rPr lang="en-US" smtClean="0"/>
              <a:t>1/3/2024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309D0D7-5659-4617-B137-BCD6E224F0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CB7DE28-3D62-4170-BF0D-CC6EA157C6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247B291-8A29-47D5-B3B5-2F5D40932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80390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1532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BC85912D-3038-43AE-BFEE-9403A9ED47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6098D2F-DA8E-4E90-AFDD-4D4E06ADE7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714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2" indent="0">
              <a:buNone/>
              <a:defRPr sz="1400"/>
            </a:lvl2pPr>
            <a:lvl3pPr marL="914363" indent="0">
              <a:buNone/>
              <a:defRPr sz="1200"/>
            </a:lvl3pPr>
            <a:lvl4pPr marL="1371545" indent="0">
              <a:buNone/>
              <a:defRPr sz="1000"/>
            </a:lvl4pPr>
            <a:lvl5pPr marL="1828727" indent="0">
              <a:buNone/>
              <a:defRPr sz="1000"/>
            </a:lvl5pPr>
            <a:lvl6pPr marL="2285909" indent="0">
              <a:buNone/>
              <a:defRPr sz="1000"/>
            </a:lvl6pPr>
            <a:lvl7pPr marL="2743090" indent="0">
              <a:buNone/>
              <a:defRPr sz="1000"/>
            </a:lvl7pPr>
            <a:lvl8pPr marL="3200272" indent="0">
              <a:buNone/>
              <a:defRPr sz="1000"/>
            </a:lvl8pPr>
            <a:lvl9pPr marL="365745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8FA2E0B-FE8C-484B-8405-191271D56964}" type="datetime1">
              <a:rPr lang="en-US" smtClean="0"/>
              <a:t>1/3/2024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8C59BC6-2219-46CD-A694-4CF3FAFCBF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A781A6D-DE2B-417B-ABBF-9E99BCD6C4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805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2" indent="0">
              <a:buNone/>
              <a:defRPr sz="2800"/>
            </a:lvl2pPr>
            <a:lvl3pPr marL="914363" indent="0">
              <a:buNone/>
              <a:defRPr sz="2400"/>
            </a:lvl3pPr>
            <a:lvl4pPr marL="1371545" indent="0">
              <a:buNone/>
              <a:defRPr sz="2000"/>
            </a:lvl4pPr>
            <a:lvl5pPr marL="1828727" indent="0">
              <a:buNone/>
              <a:defRPr sz="2000"/>
            </a:lvl5pPr>
            <a:lvl6pPr marL="2285909" indent="0">
              <a:buNone/>
              <a:defRPr sz="2000"/>
            </a:lvl6pPr>
            <a:lvl7pPr marL="2743090" indent="0">
              <a:buNone/>
              <a:defRPr sz="2000"/>
            </a:lvl7pPr>
            <a:lvl8pPr marL="3200272" indent="0">
              <a:buNone/>
              <a:defRPr sz="2000"/>
            </a:lvl8pPr>
            <a:lvl9pPr marL="3657454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2" indent="0">
              <a:buNone/>
              <a:defRPr sz="1400"/>
            </a:lvl2pPr>
            <a:lvl3pPr marL="914363" indent="0">
              <a:buNone/>
              <a:defRPr sz="1200"/>
            </a:lvl3pPr>
            <a:lvl4pPr marL="1371545" indent="0">
              <a:buNone/>
              <a:defRPr sz="1000"/>
            </a:lvl4pPr>
            <a:lvl5pPr marL="1828727" indent="0">
              <a:buNone/>
              <a:defRPr sz="1000"/>
            </a:lvl5pPr>
            <a:lvl6pPr marL="2285909" indent="0">
              <a:buNone/>
              <a:defRPr sz="1000"/>
            </a:lvl6pPr>
            <a:lvl7pPr marL="2743090" indent="0">
              <a:buNone/>
              <a:defRPr sz="1000"/>
            </a:lvl7pPr>
            <a:lvl8pPr marL="3200272" indent="0">
              <a:buNone/>
              <a:defRPr sz="1000"/>
            </a:lvl8pPr>
            <a:lvl9pPr marL="365745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8B97BFA-051A-2642-8A2F-03139CAA3914}" type="datetime1">
              <a:rPr lang="en-US" smtClean="0"/>
              <a:t>1/3/2024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EBBF279-9A0A-45DC-AAD4-289ED1FE14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07BDF09-718D-44E8-B009-26474F63B6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50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8255"/>
            <a:ext cx="10515600" cy="8039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968740"/>
            <a:ext cx="10515600" cy="52082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528314-A84F-415D-8073-E76E3CBEAD7D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80320" y="86382"/>
            <a:ext cx="2061434" cy="71119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0C01857-9D65-492B-A563-DC606E1BFF6B}"/>
              </a:ext>
            </a:extLst>
          </p:cNvPr>
          <p:cNvSpPr/>
          <p:nvPr userDrawn="1"/>
        </p:nvSpPr>
        <p:spPr>
          <a:xfrm>
            <a:off x="0" y="6648492"/>
            <a:ext cx="12192000" cy="234088"/>
          </a:xfrm>
          <a:prstGeom prst="rect">
            <a:avLst/>
          </a:prstGeom>
          <a:solidFill>
            <a:srgbClr val="2F37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79324" y="6641638"/>
            <a:ext cx="283371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© Cornelis Networks |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75270" y="6632105"/>
            <a:ext cx="451183" cy="234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chemeClr val="bg1"/>
                </a:solidFill>
              </a:defRPr>
            </a:lvl1pPr>
          </a:lstStyle>
          <a:p>
            <a:fld id="{3B7FEF2C-167A-4C78-89DC-7D54094BC1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4104" r:id="rId15"/>
  </p:sldLayoutIdLst>
  <p:hf hd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3667" b="1" kern="1200">
          <a:solidFill>
            <a:srgbClr val="222B75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591" indent="-228591" algn="l" defTabSz="914363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3" indent="-228591" algn="l" defTabSz="914363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F95EA1-AB0A-D801-D2B7-ED7C01013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9AF28F-3B96-48B3-4665-8C2EB06E63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CC8330-3505-5541-EEE1-29739792FC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5D2D80-7516-415D-9BA8-78B1E972A166}" type="datetimeFigureOut">
              <a:rPr lang="en-US" smtClean="0"/>
              <a:t>1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A55442-B38F-82B0-7F09-24BB08BC5A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DA3634-6B01-B019-0631-F4019A7D52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A4ED02-78A8-41C1-AC85-4B1E6953AD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583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.png"/><Relationship Id="rId5" Type="http://schemas.openxmlformats.org/officeDocument/2006/relationships/hyperlink" Target="mailto:Email:scott.hurst@cornelisnetworks.com" TargetMode="External"/><Relationship Id="rId4" Type="http://schemas.openxmlformats.org/officeDocument/2006/relationships/hyperlink" Target="mailto:sales@cornelisnetworks.com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2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hyperlink" Target="mailto:Email:scott.hurst@cornelisnetworks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D082AB-C6F6-21D0-DE36-FC8FAB6F72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75270" y="6576358"/>
            <a:ext cx="516730" cy="289835"/>
          </a:xfrm>
        </p:spPr>
        <p:txBody>
          <a:bodyPr/>
          <a:lstStyle/>
          <a:p>
            <a:pPr algn="ctr"/>
            <a:fld id="{3B7FEF2C-167A-4C78-89DC-7D54094BC10D}" type="slidenum">
              <a:rPr lang="en-US" sz="1000" smtClean="0"/>
              <a:pPr algn="ctr"/>
              <a:t>1</a:t>
            </a:fld>
            <a:endParaRPr lang="en-US" sz="100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89E4A9D-7C14-5422-1B9E-DD1CDE65E0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3089" y="620780"/>
            <a:ext cx="9742726" cy="1932295"/>
          </a:xfrm>
        </p:spPr>
        <p:txBody>
          <a:bodyPr vert="horz" lIns="91440" tIns="45720" rIns="91440" bIns="45720" rtlCol="0" anchor="t">
            <a:normAutofit fontScale="90000"/>
          </a:bodyPr>
          <a:lstStyle/>
          <a:p>
            <a:r>
              <a:rPr lang="en-US" sz="4500" b="0" dirty="0">
                <a:latin typeface="Calibri"/>
                <a:cs typeface="Calibri"/>
              </a:rPr>
              <a:t>Ansys| Cornelis Networks Partner Offerings (Battle Cards)</a:t>
            </a:r>
            <a:br>
              <a:rPr lang="en-US" sz="4500" b="0" dirty="0">
                <a:latin typeface="Calibri"/>
                <a:cs typeface="Calibri"/>
              </a:rPr>
            </a:br>
            <a:endParaRPr lang="en-US" sz="4500" b="0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31FAFA96-B43C-203B-C6C0-ADABE7AA3C1D}"/>
              </a:ext>
            </a:extLst>
          </p:cNvPr>
          <p:cNvSpPr txBox="1">
            <a:spLocks/>
          </p:cNvSpPr>
          <p:nvPr/>
        </p:nvSpPr>
        <p:spPr>
          <a:xfrm>
            <a:off x="4679143" y="6576358"/>
            <a:ext cx="2833713" cy="2340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>
                <a:solidFill>
                  <a:schemeClr val="bg1"/>
                </a:solidFill>
              </a:rPr>
              <a:t>© Cornelis Networks | Confidentia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2EB3151-AEA6-F36C-F018-868C93EB9A79}"/>
              </a:ext>
            </a:extLst>
          </p:cNvPr>
          <p:cNvSpPr txBox="1"/>
          <p:nvPr/>
        </p:nvSpPr>
        <p:spPr>
          <a:xfrm>
            <a:off x="6495737" y="2685737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85C83-D98A-721E-CFF6-27DDFDA32F04}"/>
              </a:ext>
            </a:extLst>
          </p:cNvPr>
          <p:cNvSpPr txBox="1"/>
          <p:nvPr/>
        </p:nvSpPr>
        <p:spPr>
          <a:xfrm>
            <a:off x="7132035" y="2967335"/>
            <a:ext cx="274320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ea typeface="+mn-lt"/>
                <a:cs typeface="+mn-lt"/>
              </a:rPr>
              <a:t>2024</a:t>
            </a:r>
            <a:endParaRPr lang="en-US" dirty="0">
              <a:solidFill>
                <a:schemeClr val="bg1"/>
              </a:solidFill>
              <a:ea typeface="+mn-lt"/>
              <a:cs typeface="+mn-lt"/>
            </a:endParaRPr>
          </a:p>
          <a:p>
            <a:r>
              <a:rPr lang="en-US" b="1" dirty="0">
                <a:solidFill>
                  <a:schemeClr val="bg1"/>
                </a:solidFill>
                <a:ea typeface="+mn-lt"/>
                <a:cs typeface="+mn-lt"/>
              </a:rPr>
              <a:t>Cornelis Networks</a:t>
            </a:r>
            <a:endParaRPr lang="en-US" dirty="0">
              <a:solidFill>
                <a:schemeClr val="bg1"/>
              </a:solidFill>
              <a:ea typeface="+mn-lt"/>
              <a:cs typeface="+mn-lt"/>
            </a:endParaRPr>
          </a:p>
          <a:p>
            <a:endParaRPr lang="en-US" b="1" dirty="0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3398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338ED73B-4FD6-A24D-797C-2D1DD23BA776}"/>
              </a:ext>
            </a:extLst>
          </p:cNvPr>
          <p:cNvSpPr txBox="1"/>
          <p:nvPr/>
        </p:nvSpPr>
        <p:spPr>
          <a:xfrm>
            <a:off x="519965" y="90534"/>
            <a:ext cx="10754763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  <a:latin typeface="Arial "/>
                <a:cs typeface="Arial"/>
              </a:rPr>
              <a:t>Ansys and Cornelis Networks Working Together to Deliver:</a:t>
            </a:r>
            <a:endParaRPr lang="en-US" dirty="0">
              <a:cs typeface="Calibri" panose="020F0502020204030204"/>
            </a:endParaRPr>
          </a:p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"/>
                <a:cs typeface="Arial"/>
              </a:rPr>
              <a:t>Industry-leading fabrics for AI, Data Analytics, and HPC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295A5C-977B-ECD8-BFEF-282F154DCB5A}"/>
              </a:ext>
            </a:extLst>
          </p:cNvPr>
          <p:cNvSpPr txBox="1"/>
          <p:nvPr/>
        </p:nvSpPr>
        <p:spPr>
          <a:xfrm>
            <a:off x="4480042" y="6596390"/>
            <a:ext cx="2973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Copyright Cornelis Networks. All Rights Reserve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E0131F-FB05-F9B5-6651-1DFAD7E7B256}"/>
              </a:ext>
            </a:extLst>
          </p:cNvPr>
          <p:cNvSpPr/>
          <p:nvPr/>
        </p:nvSpPr>
        <p:spPr>
          <a:xfrm>
            <a:off x="531059" y="1252951"/>
            <a:ext cx="3632779" cy="19149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Large and Fast-growing markets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 </a:t>
            </a: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AI – $515B at 21.6% CAGAR</a:t>
            </a: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HPC - $41B at 8.1% CAGAR</a:t>
            </a: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AI &amp; HPC placing extreme demands on networks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Data, increased scale</a:t>
            </a: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High-performance interconnects required to unlock potential of workloads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Production-scale AI</a:t>
            </a: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Data analytics and HPC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endParaRPr lang="en-US" dirty="0"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A5B1B3-1BB8-3AF0-D73A-81143B705155}"/>
              </a:ext>
            </a:extLst>
          </p:cNvPr>
          <p:cNvSpPr/>
          <p:nvPr/>
        </p:nvSpPr>
        <p:spPr>
          <a:xfrm>
            <a:off x="534343" y="934381"/>
            <a:ext cx="3636563" cy="32265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 dirty="0">
                <a:latin typeface="Arial"/>
                <a:cs typeface="Calibri"/>
              </a:rPr>
              <a:t>Market Analysis</a:t>
            </a:r>
            <a:endParaRPr lang="en-US" sz="1200" dirty="0">
              <a:latin typeface="Arial"/>
              <a:cs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93E237-C9F5-DFA6-1BE5-1500C091F163}"/>
              </a:ext>
            </a:extLst>
          </p:cNvPr>
          <p:cNvSpPr/>
          <p:nvPr/>
        </p:nvSpPr>
        <p:spPr>
          <a:xfrm>
            <a:off x="8169579" y="3759109"/>
            <a:ext cx="3197366" cy="30367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  <a:latin typeface="Arial"/>
                <a:cs typeface="Calibri"/>
              </a:rPr>
              <a:t>Competitive Position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183EE14-81F6-DC32-F409-E79DFD74B987}"/>
              </a:ext>
            </a:extLst>
          </p:cNvPr>
          <p:cNvSpPr/>
          <p:nvPr/>
        </p:nvSpPr>
        <p:spPr>
          <a:xfrm>
            <a:off x="8169579" y="4082667"/>
            <a:ext cx="3197187" cy="25091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Predictable Performance at Scale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Delivering the production-scale performance to drive the future of AI and HPC workloads where Ethernet and </a:t>
            </a:r>
            <a:r>
              <a:rPr lang="en-US" sz="1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Infiniband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 fall short.</a:t>
            </a:r>
          </a:p>
          <a:p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Nvidia </a:t>
            </a:r>
            <a:r>
              <a:rPr lang="en-US" sz="11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Infiniband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 </a:t>
            </a: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OPA Scales better, performs better, better price-performance and availability. </a:t>
            </a: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HPE Slingshot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OPA performs better because not Eth based, better price-performance</a:t>
            </a: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Atos BXI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OPA is more open, performs better and scales bett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55B6A4-42F0-B7D0-800E-52C8D8EE9178}"/>
              </a:ext>
            </a:extLst>
          </p:cNvPr>
          <p:cNvSpPr/>
          <p:nvPr/>
        </p:nvSpPr>
        <p:spPr>
          <a:xfrm>
            <a:off x="4473580" y="4119014"/>
            <a:ext cx="3616887" cy="29677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400" b="1" dirty="0">
              <a:solidFill>
                <a:schemeClr val="bg1"/>
              </a:solidFill>
              <a:ea typeface="+mn-lt"/>
              <a:cs typeface="+mn-lt"/>
            </a:endParaRPr>
          </a:p>
          <a:p>
            <a:r>
              <a:rPr lang="en-US" sz="1200" b="1" dirty="0">
                <a:solidFill>
                  <a:schemeClr val="bg1"/>
                </a:solidFill>
                <a:latin typeface="Arial"/>
                <a:ea typeface="+mn-lt"/>
                <a:cs typeface="+mn-lt"/>
              </a:rPr>
              <a:t>           Qualifying Sales Questions</a:t>
            </a:r>
            <a:endParaRPr lang="en-US" sz="1200" dirty="0">
              <a:solidFill>
                <a:schemeClr val="bg1"/>
              </a:solidFill>
              <a:latin typeface="Arial"/>
              <a:ea typeface="+mn-lt"/>
              <a:cs typeface="+mn-lt"/>
            </a:endParaRPr>
          </a:p>
          <a:p>
            <a:pPr algn="ctr"/>
            <a:endParaRPr lang="en-US" dirty="0">
              <a:cs typeface="Calibri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7A2B5EC-7B91-FCC3-F5BC-413A619BD86D}"/>
              </a:ext>
            </a:extLst>
          </p:cNvPr>
          <p:cNvSpPr/>
          <p:nvPr/>
        </p:nvSpPr>
        <p:spPr>
          <a:xfrm>
            <a:off x="8162337" y="931256"/>
            <a:ext cx="3202269" cy="32020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400" b="1">
              <a:solidFill>
                <a:schemeClr val="bg1"/>
              </a:solidFill>
              <a:ea typeface="+mn-lt"/>
              <a:cs typeface="+mn-lt"/>
            </a:endParaRPr>
          </a:p>
          <a:p>
            <a:pPr algn="ctr"/>
            <a:r>
              <a:rPr lang="en-US" sz="1200" b="1">
                <a:solidFill>
                  <a:schemeClr val="bg1"/>
                </a:solidFill>
                <a:latin typeface="Arial"/>
                <a:ea typeface="+mn-lt"/>
                <a:cs typeface="+mn-lt"/>
              </a:rPr>
              <a:t>Target Market &amp; Industries</a:t>
            </a:r>
            <a:endParaRPr lang="en-US" sz="1200">
              <a:solidFill>
                <a:schemeClr val="bg1"/>
              </a:solidFill>
              <a:latin typeface="Arial"/>
              <a:cs typeface="Arial"/>
            </a:endParaRPr>
          </a:p>
          <a:p>
            <a:pPr algn="ctr"/>
            <a:endParaRPr lang="en-US">
              <a:cs typeface="Calibri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8A4B2A8-5A79-C7D1-ED5C-18A8FCD09D37}"/>
              </a:ext>
            </a:extLst>
          </p:cNvPr>
          <p:cNvSpPr/>
          <p:nvPr/>
        </p:nvSpPr>
        <p:spPr>
          <a:xfrm>
            <a:off x="8169579" y="1253325"/>
            <a:ext cx="3194726" cy="23715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BCDAF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 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Calibri" panose="020F0502020204030204"/>
              <a:cs typeface="Arial" panose="020B0604020202020204" pitchFamily="34" charset="0"/>
            </a:endParaRPr>
          </a:p>
          <a:p>
            <a:pPr marL="171450" indent="-171450">
              <a:buFont typeface="Arial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ation</a:t>
            </a:r>
          </a:p>
          <a:p>
            <a:pPr marL="628650" lvl="1" indent="-171450">
              <a:buFont typeface="Arial"/>
              <a:buChar char="•"/>
            </a:pPr>
            <a:r>
              <a:rPr lang="en-US" sz="11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X delivers 2x higher performance per fabric cost</a:t>
            </a:r>
            <a:r>
              <a:rPr lang="en-US" sz="11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n Ansys LS-DYNA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2car*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(oil &amp; gas) 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ciences 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er Education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marL="171450" indent="-171450">
              <a:buFont typeface="Arial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</a:t>
            </a:r>
          </a:p>
          <a:p>
            <a:pPr marL="171450" indent="-171450">
              <a:buFont typeface="Arial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/ML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marL="171450" indent="-171450">
              <a:buFont typeface="Arial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Deployments </a:t>
            </a:r>
          </a:p>
          <a:p>
            <a:pPr marL="0" lvl="2"/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                        </a:t>
            </a: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compared to HDR200</a:t>
            </a:r>
          </a:p>
          <a:p>
            <a:pPr lvl="0"/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8929324-CC89-1B18-BFB4-29E56D160BA1}"/>
              </a:ext>
            </a:extLst>
          </p:cNvPr>
          <p:cNvSpPr/>
          <p:nvPr/>
        </p:nvSpPr>
        <p:spPr>
          <a:xfrm>
            <a:off x="541777" y="3330730"/>
            <a:ext cx="3625081" cy="29411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lvl="1"/>
            <a:endParaRPr lang="en-US" sz="1200" b="1" dirty="0">
              <a:latin typeface="Arial"/>
              <a:cs typeface="Calibri"/>
            </a:endParaRPr>
          </a:p>
          <a:p>
            <a:pPr lvl="1"/>
            <a:r>
              <a:rPr lang="en-US" sz="1200" b="1" dirty="0">
                <a:latin typeface="Arial"/>
                <a:cs typeface="Calibri"/>
              </a:rPr>
              <a:t>                  Value to Ansys</a:t>
            </a:r>
            <a:endParaRPr lang="en-US" sz="1200" dirty="0">
              <a:latin typeface="Arial"/>
              <a:cs typeface="Calibri"/>
            </a:endParaRPr>
          </a:p>
          <a:p>
            <a:pPr lvl="1"/>
            <a:endParaRPr lang="en-US" sz="1200" b="1" dirty="0">
              <a:latin typeface="Arial"/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F4B2C04-F38E-6420-63CE-A70935A645B5}"/>
              </a:ext>
            </a:extLst>
          </p:cNvPr>
          <p:cNvSpPr/>
          <p:nvPr/>
        </p:nvSpPr>
        <p:spPr>
          <a:xfrm>
            <a:off x="538466" y="3626533"/>
            <a:ext cx="3622456" cy="22970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Lower lead time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 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  <a:cs typeface="Calibri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Speed time to revenue</a:t>
            </a: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Higher Performance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Offer differentiated value to customers</a:t>
            </a: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Better price performance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 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  <a:cs typeface="Calibri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Improve customer offering</a:t>
            </a: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Improve margins</a:t>
            </a: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Unprecedented ease of use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Broad support for OS and Applications</a:t>
            </a: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Ease of use - it just works</a:t>
            </a: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Independent interconnect supplier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 </a:t>
            </a: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Freedom of choice</a:t>
            </a: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Highly interoperable 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endParaRPr lang="en-US" sz="600" dirty="0">
              <a:solidFill>
                <a:srgbClr val="000000"/>
              </a:solidFill>
              <a:ea typeface="+mn-lt"/>
              <a:cs typeface="+mn-lt"/>
            </a:endParaRPr>
          </a:p>
          <a:p>
            <a:pPr algn="ctr"/>
            <a:endParaRPr lang="en-US" dirty="0">
              <a:cs typeface="Calibri"/>
            </a:endParaRPr>
          </a:p>
        </p:txBody>
      </p:sp>
      <p:pic>
        <p:nvPicPr>
          <p:cNvPr id="6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60874713-715C-4014-5A11-F9284432E0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1142" y="245225"/>
            <a:ext cx="1341489" cy="395134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800C91D-BC19-8928-6AA3-47A3BC2F272E}"/>
              </a:ext>
            </a:extLst>
          </p:cNvPr>
          <p:cNvSpPr/>
          <p:nvPr/>
        </p:nvSpPr>
        <p:spPr>
          <a:xfrm>
            <a:off x="4414193" y="5853792"/>
            <a:ext cx="3616887" cy="59573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82880" tIns="137160" rIns="137160" bIns="1371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/>
              </a:rPr>
              <a:t>Contact </a:t>
            </a:r>
            <a:r>
              <a:rPr lang="en-US" sz="1000" dirty="0">
                <a:solidFill>
                  <a:schemeClr val="accent5">
                    <a:lumMod val="75000"/>
                  </a:schemeClr>
                </a:solidFill>
                <a:latin typeface="Arial"/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les@cornelisnetworks.com</a:t>
            </a:r>
            <a:endParaRPr lang="en-US" sz="1000" dirty="0">
              <a:solidFill>
                <a:schemeClr val="accent5">
                  <a:lumMod val="75000"/>
                </a:schemeClr>
              </a:solidFill>
              <a:latin typeface="Arial"/>
              <a:cs typeface="Arial"/>
            </a:endParaRP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/>
              </a:rPr>
              <a:t>Further information: </a:t>
            </a:r>
            <a:r>
              <a:rPr lang="en-US" sz="1000" u="sng" dirty="0">
                <a:solidFill>
                  <a:schemeClr val="accent1"/>
                </a:solidFill>
                <a:latin typeface="Arial"/>
                <a:cs typeface="Arial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ott.hurst@cornelisnetworks.com</a:t>
            </a:r>
            <a:r>
              <a:rPr lang="en-US" sz="1000" dirty="0">
                <a:solidFill>
                  <a:schemeClr val="accent1"/>
                </a:solidFill>
                <a:latin typeface="Arial"/>
                <a:cs typeface="Arial"/>
              </a:rPr>
              <a:t> </a:t>
            </a:r>
            <a:endParaRPr lang="en-US" sz="9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E3086C9-8DE7-EE4F-B5A3-D12E386D3F81}"/>
              </a:ext>
            </a:extLst>
          </p:cNvPr>
          <p:cNvSpPr/>
          <p:nvPr/>
        </p:nvSpPr>
        <p:spPr>
          <a:xfrm>
            <a:off x="4473582" y="4428556"/>
            <a:ext cx="3616887" cy="12783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,Sans-Serif"/>
              <a:buChar char="•"/>
            </a:pP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Does your customer have 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HPC, AI, or data analytics application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 requirements? 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/>
            </a:endParaRPr>
          </a:p>
          <a:p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Arial"/>
              <a:cs typeface="Arial"/>
            </a:endParaRPr>
          </a:p>
          <a:p>
            <a:pPr marL="285750" indent="-285750">
              <a:buFont typeface="Arial,Sans-Serif"/>
              <a:buChar char="•"/>
            </a:pP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Does your customer: Require 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high bandwidth, low latency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 networking </a:t>
            </a: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/>
              <a:ea typeface="Arial"/>
              <a:cs typeface="Calibri"/>
            </a:endParaRPr>
          </a:p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        products to improve performance and scalability?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4" name="Picture 3" descr="A diagram of different types of computer components&#10;&#10;Description automatically generated">
            <a:extLst>
              <a:ext uri="{FF2B5EF4-FFF2-40B4-BE49-F238E27FC236}">
                <a16:creationId xmlns:a16="http://schemas.microsoft.com/office/drawing/2014/main" id="{D7B578B3-66F3-4D90-C978-C79B4117EDB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10836" y="820742"/>
            <a:ext cx="3381868" cy="3242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0410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1D771F55-0A32-68A8-6164-F80CEA844452}"/>
              </a:ext>
            </a:extLst>
          </p:cNvPr>
          <p:cNvGrpSpPr/>
          <p:nvPr/>
        </p:nvGrpSpPr>
        <p:grpSpPr>
          <a:xfrm>
            <a:off x="498466" y="981045"/>
            <a:ext cx="3348316" cy="2749294"/>
            <a:chOff x="219846" y="951644"/>
            <a:chExt cx="3581716" cy="283450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1A2A79B-3F84-B6F8-E8CA-2925B688C9AD}"/>
                </a:ext>
              </a:extLst>
            </p:cNvPr>
            <p:cNvSpPr/>
            <p:nvPr/>
          </p:nvSpPr>
          <p:spPr>
            <a:xfrm>
              <a:off x="224027" y="982683"/>
              <a:ext cx="3577535" cy="280346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buClr>
                  <a:srgbClr val="FFFFFF"/>
                </a:buClr>
              </a:pPr>
              <a:endParaRPr lang="en-US" sz="9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endParaRPr>
            </a:p>
            <a:p>
              <a:endParaRPr lang="en-US" sz="9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endParaRPr>
            </a:p>
            <a:p>
              <a:endParaRPr lang="en-US" sz="9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endParaRPr>
            </a:p>
            <a:p>
              <a:r>
                <a:rPr lang="en-US" sz="1100" b="1" u="sng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Cornelis Networks Solution </a:t>
              </a:r>
              <a:r>
                <a:rPr lang="en-US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catalyzing the next wave of innovation in AI with CN5000</a:t>
              </a:r>
              <a:endPara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Calibri"/>
              </a:endParaRPr>
            </a:p>
            <a:p>
              <a:endPara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endParaRPr>
            </a:p>
            <a:p>
              <a:pPr marL="171450" indent="-171450">
                <a:buFont typeface="Arial,Sans-Serif"/>
                <a:buChar char="•"/>
              </a:pPr>
              <a: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Designed for AI workloads - highest performance up to 400Gb  </a:t>
              </a:r>
            </a:p>
            <a:p>
              <a:pPr marL="171450" indent="-171450">
                <a:buFont typeface="Arial,Sans-Serif"/>
                <a:buChar char="•"/>
              </a:pPr>
              <a: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Seamless scalability for training large models - 330K nodes in 2024</a:t>
              </a:r>
            </a:p>
            <a:p>
              <a:pPr marL="171450" indent="-171450">
                <a:buFont typeface="Arial,Sans-Serif"/>
                <a:buChar char="•"/>
              </a:pPr>
              <a: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Lowest latency communication between compute nodes</a:t>
              </a:r>
            </a:p>
            <a:p>
              <a:pPr marL="171450" indent="-171450">
                <a:buFont typeface="Arial,Sans-Serif"/>
                <a:buChar char="•"/>
              </a:pPr>
              <a: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Transfer and aggregate data reliably and rapidly</a:t>
              </a:r>
            </a:p>
            <a:p>
              <a:pPr marL="171450" indent="-171450">
                <a:buFont typeface="Arial,Sans-Serif"/>
                <a:buChar char="•"/>
              </a:pPr>
              <a: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Broad interoperability with AI infrastructure ecosystem</a:t>
              </a:r>
            </a:p>
            <a:p>
              <a:pPr marL="171450" indent="-171450">
                <a:buFont typeface="Arial,Sans-Serif"/>
                <a:buChar char="•"/>
              </a:pPr>
              <a:r>
                <a:rPr lang="en-US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Open software integrates with hyperscale management frameworks</a:t>
              </a:r>
            </a:p>
            <a:p>
              <a:endParaRPr lang="en-US" sz="1200" dirty="0">
                <a:latin typeface="Arial"/>
                <a:cs typeface="Arial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8FA4BE6-6B16-80D0-FE0F-362660DE1DF9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219846" y="951644"/>
              <a:ext cx="3581607" cy="26226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0876" tIns="0" rIns="50876" bIns="20350" anchor="ctr"/>
            <a:lstStyle/>
            <a:p>
              <a:pPr algn="ctr" defTabSz="914283">
                <a:defRPr/>
              </a:pPr>
              <a:r>
                <a:rPr lang="en-US" sz="1200" b="1" dirty="0">
                  <a:solidFill>
                    <a:schemeClr val="bg1"/>
                  </a:solidFill>
                  <a:latin typeface="Arial"/>
                  <a:cs typeface="Arial"/>
                </a:rPr>
                <a:t>Enhancing Ansys AI Strategy</a:t>
              </a:r>
              <a:endParaRPr lang="en-US" dirty="0">
                <a:solidFill>
                  <a:schemeClr val="bg1"/>
                </a:solidFill>
                <a:cs typeface="Calibri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5092895-D56A-0168-065C-D44932748167}"/>
              </a:ext>
            </a:extLst>
          </p:cNvPr>
          <p:cNvGrpSpPr/>
          <p:nvPr/>
        </p:nvGrpSpPr>
        <p:grpSpPr>
          <a:xfrm>
            <a:off x="4100184" y="973221"/>
            <a:ext cx="3462357" cy="2217031"/>
            <a:chOff x="-4147265" y="797568"/>
            <a:chExt cx="3040898" cy="221703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443DC02-07D0-77EC-24A8-EF4D64637C71}"/>
                </a:ext>
              </a:extLst>
            </p:cNvPr>
            <p:cNvSpPr/>
            <p:nvPr/>
          </p:nvSpPr>
          <p:spPr>
            <a:xfrm>
              <a:off x="-4147265" y="1071451"/>
              <a:ext cx="3036254" cy="1943148"/>
            </a:xfrm>
            <a:prstGeom prst="rect">
              <a:avLst/>
            </a:prstGeom>
            <a:solidFill>
              <a:srgbClr val="E4EA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endParaRPr lang="en-US" sz="3200" b="1" dirty="0">
                <a:solidFill>
                  <a:schemeClr val="tx1"/>
                </a:solidFill>
              </a:endParaRPr>
            </a:p>
            <a:p>
              <a:pPr algn="ctr"/>
              <a:endParaRPr lang="en-US" sz="2000" b="1" dirty="0">
                <a:solidFill>
                  <a:schemeClr val="tx1"/>
                </a:solidFill>
                <a:latin typeface="+mn-lt"/>
                <a:cs typeface="Calibri"/>
              </a:endParaRPr>
            </a:p>
            <a:p>
              <a:pPr algn="ctr"/>
              <a:endPara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endParaRPr>
            </a:p>
            <a:p>
              <a:pPr algn="ctr"/>
              <a:r>
                <a:rPr lang="en-US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ea typeface="+mn-lt"/>
                  <a:cs typeface="Arial"/>
                </a:rPr>
                <a:t>Cornelis Networks provides open, intelligent, high-performance networking solutions designed to accelerate the world’s most demanding high performance computing applications</a:t>
              </a:r>
              <a:endPara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/>
              </a:endParaRPr>
            </a:p>
            <a:p>
              <a:pPr algn="ctr"/>
              <a:endPara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+mn-lt"/>
                <a:cs typeface="Arial"/>
              </a:endParaRPr>
            </a:p>
            <a:p>
              <a:pPr algn="ctr"/>
              <a:endParaRPr lang="en-US" sz="1400" b="1" dirty="0">
                <a:solidFill>
                  <a:srgbClr val="444444"/>
                </a:solidFill>
                <a:latin typeface="Arial"/>
                <a:ea typeface="+mn-lt"/>
                <a:cs typeface="Arial"/>
              </a:endParaRPr>
            </a:p>
            <a:p>
              <a:pPr algn="ctr"/>
              <a:endParaRPr lang="en-US" sz="2000" b="1" dirty="0">
                <a:solidFill>
                  <a:schemeClr val="tx1"/>
                </a:solidFill>
                <a:ea typeface="+mn-lt"/>
                <a:cs typeface="+mn-lt"/>
              </a:endParaRPr>
            </a:p>
            <a:p>
              <a:pPr algn="ctr"/>
              <a:endParaRPr lang="en-US" sz="2000" b="1" dirty="0">
                <a:solidFill>
                  <a:schemeClr val="tx1"/>
                </a:solidFill>
                <a:ea typeface="+mn-lt"/>
                <a:cs typeface="+mn-lt"/>
              </a:endParaRPr>
            </a:p>
            <a:p>
              <a:pPr algn="ctr"/>
              <a:endParaRPr lang="en-US" sz="2000" b="1" dirty="0">
                <a:solidFill>
                  <a:schemeClr val="tx1"/>
                </a:solidFill>
                <a:latin typeface="+mn-lt"/>
                <a:cs typeface="Calibri"/>
              </a:endParaRPr>
            </a:p>
            <a:p>
              <a:pPr algn="ctr"/>
              <a:endParaRPr lang="en-US" sz="3200" b="1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0722C19-3F66-C89F-DA5B-AA7B3EBB583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-4146675" y="797568"/>
              <a:ext cx="3040308" cy="27341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0876" tIns="0" rIns="50876" bIns="20350" anchor="ctr"/>
            <a:lstStyle/>
            <a:p>
              <a:pPr algn="ctr" defTabSz="914283">
                <a:defRPr/>
              </a:pPr>
              <a:r>
                <a:rPr lang="en-US" sz="1200" b="1">
                  <a:solidFill>
                    <a:schemeClr val="bg1"/>
                  </a:solidFill>
                  <a:latin typeface="Arial"/>
                  <a:cs typeface="Arial"/>
                </a:rPr>
                <a:t>Cornelis Networks</a:t>
              </a:r>
              <a:endParaRPr lang="en-US" sz="1200">
                <a:solidFill>
                  <a:schemeClr val="bg1"/>
                </a:solidFill>
                <a:latin typeface="Arial"/>
                <a:cs typeface="Calibri"/>
              </a:endParaRPr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EA92CAA3-BEAC-4FA6-0DC2-E1E5FE1B137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4101330" y="3311665"/>
            <a:ext cx="3461577" cy="27774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0876" tIns="0" rIns="50876" bIns="20350" anchor="ctr"/>
          <a:lstStyle/>
          <a:p>
            <a:pPr algn="ctr" defTabSz="914283">
              <a:defRPr/>
            </a:pPr>
            <a:r>
              <a:rPr lang="en-US" sz="1200" b="1">
                <a:solidFill>
                  <a:schemeClr val="bg1"/>
                </a:solidFill>
                <a:latin typeface="Arial"/>
                <a:cs typeface="Arial"/>
              </a:rPr>
              <a:t>Cornelis Networks Value Prop</a:t>
            </a:r>
            <a:endParaRPr lang="en-US">
              <a:solidFill>
                <a:schemeClr val="bg1"/>
              </a:solidFill>
              <a:cs typeface="Calibri" panose="020F0502020204030204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EE3027-0B94-6796-D080-5FD5B8D48F62}"/>
              </a:ext>
            </a:extLst>
          </p:cNvPr>
          <p:cNvSpPr txBox="1"/>
          <p:nvPr/>
        </p:nvSpPr>
        <p:spPr>
          <a:xfrm>
            <a:off x="4480042" y="6596390"/>
            <a:ext cx="29738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solidFill>
                  <a:schemeClr val="bg1">
                    <a:lumMod val="50000"/>
                  </a:schemeClr>
                </a:solidFill>
              </a:rPr>
              <a:t>Copyright Cornelis Networks. All Rights Reserve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AA16E3-5990-63AE-98C6-C370A4F3A76D}"/>
              </a:ext>
            </a:extLst>
          </p:cNvPr>
          <p:cNvSpPr txBox="1"/>
          <p:nvPr/>
        </p:nvSpPr>
        <p:spPr>
          <a:xfrm>
            <a:off x="456263" y="180894"/>
            <a:ext cx="11038478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  <a:latin typeface="Arial"/>
                <a:cs typeface="Arial"/>
              </a:rPr>
              <a:t>Ansys and Cornelis Networks Working Together to Deliver:</a:t>
            </a:r>
            <a:endParaRPr lang="en-US" sz="2000" dirty="0">
              <a:solidFill>
                <a:srgbClr val="002060"/>
              </a:solidFill>
              <a:latin typeface="Arial"/>
              <a:cs typeface="Arial"/>
            </a:endParaRPr>
          </a:p>
          <a:p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High-Performance Scale-Out Interconnects for AI, Data Analytics, and HPC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23F5C2C-D753-C17C-AC48-BA8E5A56E0B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871446" y="3311795"/>
            <a:ext cx="3627931" cy="27815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0876" tIns="0" rIns="50876" bIns="20350" anchor="ctr"/>
          <a:lstStyle/>
          <a:p>
            <a:pPr lvl="1" defTabSz="914283">
              <a:defRPr/>
            </a:pPr>
            <a:r>
              <a:rPr lang="en-US" sz="1200" b="1">
                <a:solidFill>
                  <a:schemeClr val="bg1"/>
                </a:solidFill>
                <a:latin typeface="Arial"/>
                <a:cs typeface="Arial"/>
              </a:rPr>
              <a:t>                      Resources</a:t>
            </a:r>
            <a:endParaRPr lang="en-US" sz="1200">
              <a:solidFill>
                <a:schemeClr val="bg1"/>
              </a:solidFill>
              <a:latin typeface="Arial"/>
              <a:cs typeface="Calibri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10D0DA9-5019-6D00-67D0-B1357EBCAFBF}"/>
              </a:ext>
            </a:extLst>
          </p:cNvPr>
          <p:cNvSpPr/>
          <p:nvPr/>
        </p:nvSpPr>
        <p:spPr>
          <a:xfrm>
            <a:off x="7870257" y="971403"/>
            <a:ext cx="3597058" cy="25940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200" b="1">
                <a:latin typeface="Arial"/>
                <a:cs typeface="Calibri"/>
              </a:rPr>
              <a:t>Partner Off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F0398A5-3C61-FD3B-91F3-A78908FE2400}"/>
              </a:ext>
            </a:extLst>
          </p:cNvPr>
          <p:cNvSpPr/>
          <p:nvPr/>
        </p:nvSpPr>
        <p:spPr>
          <a:xfrm>
            <a:off x="7873141" y="1219409"/>
            <a:ext cx="3597127" cy="197264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Segoe UI"/>
                <a:cs typeface="Arial"/>
              </a:rPr>
              <a:t>Partnership tools and resources</a:t>
            </a:r>
          </a:p>
          <a:p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Segoe UI"/>
              <a:cs typeface="Arial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Full reseller programs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Pre-sales architecture services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Benchmarking services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Sales and Marketing collateral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Technical and sales training programs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Co-marketing programs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</a:rPr>
              <a:t>World-class support</a:t>
            </a:r>
            <a:endParaRPr lang="en-US" sz="24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Quick-ship and 400Gb Upgrade promotions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ea typeface="Calibri"/>
              <a:cs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5BE45DD-8C2C-3F73-F5E6-960026504641}"/>
              </a:ext>
            </a:extLst>
          </p:cNvPr>
          <p:cNvGrpSpPr/>
          <p:nvPr/>
        </p:nvGrpSpPr>
        <p:grpSpPr>
          <a:xfrm>
            <a:off x="498466" y="4180545"/>
            <a:ext cx="3355631" cy="2100895"/>
            <a:chOff x="149893" y="1478232"/>
            <a:chExt cx="5093426" cy="242617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752C36A-D877-080C-2FFB-992F5734A4D8}"/>
                </a:ext>
              </a:extLst>
            </p:cNvPr>
            <p:cNvSpPr/>
            <p:nvPr/>
          </p:nvSpPr>
          <p:spPr>
            <a:xfrm>
              <a:off x="155627" y="1775039"/>
              <a:ext cx="5087692" cy="21293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171450" indent="-171450">
                <a:lnSpc>
                  <a:spcPct val="150000"/>
                </a:lnSpc>
                <a:buFont typeface="Arial,Sans-Serif"/>
                <a:buChar char="•"/>
              </a:pPr>
              <a:r>
                <a:rPr lang="en-US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Industry leading performance</a:t>
              </a:r>
            </a:p>
            <a:p>
              <a:pPr marL="171450" indent="-171450">
                <a:lnSpc>
                  <a:spcPct val="150000"/>
                </a:lnSpc>
                <a:buFont typeface="Arial,Sans-Serif"/>
                <a:buChar char="•"/>
              </a:pPr>
              <a:r>
                <a:rPr lang="en-US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Industry leading price/performance</a:t>
              </a:r>
            </a:p>
            <a:p>
              <a:pPr marL="171450" indent="-171450">
                <a:lnSpc>
                  <a:spcPct val="150000"/>
                </a:lnSpc>
                <a:buFont typeface="Arial,Sans-Serif"/>
                <a:buChar char="•"/>
              </a:pPr>
              <a:r>
                <a:rPr lang="en-US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Immediate availability for shipment</a:t>
              </a:r>
            </a:p>
            <a:p>
              <a:pPr marL="171450" indent="-171450">
                <a:lnSpc>
                  <a:spcPct val="150000"/>
                </a:lnSpc>
                <a:buFont typeface="Arial,Sans-Serif"/>
                <a:buChar char="•"/>
              </a:pPr>
              <a:r>
                <a:rPr lang="en-US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Unprecedented ease of use</a:t>
              </a:r>
              <a:endPara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marL="171450" indent="-171450">
                <a:lnSpc>
                  <a:spcPct val="150000"/>
                </a:lnSpc>
                <a:buFont typeface="Arial,Sans-Serif"/>
                <a:buChar char="•"/>
              </a:pPr>
              <a:r>
                <a:rPr lang="en-US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Fully Integrated, Open, Interoperable</a:t>
              </a:r>
            </a:p>
            <a:p>
              <a:pPr marL="171450" indent="-171450">
                <a:lnSpc>
                  <a:spcPct val="150000"/>
                </a:lnSpc>
                <a:buFont typeface="Arial,Sans-Serif"/>
                <a:buChar char="•"/>
              </a:pPr>
              <a:r>
                <a:rPr lang="en-US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All products are TAA compliant</a:t>
              </a:r>
              <a:endPara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C75FFBD-E825-1491-070B-8AE4BB0F230E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149893" y="1478232"/>
              <a:ext cx="5081970" cy="29680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0876" tIns="0" rIns="50876" bIns="20350" anchor="ctr"/>
            <a:lstStyle/>
            <a:p>
              <a:pPr algn="ctr" defTabSz="914283">
                <a:defRPr/>
              </a:pPr>
              <a:r>
                <a:rPr lang="en-US" sz="1200" b="1" dirty="0">
                  <a:solidFill>
                    <a:schemeClr val="bg1"/>
                  </a:solidFill>
                  <a:latin typeface="Arial"/>
                  <a:cs typeface="Arial"/>
                </a:rPr>
                <a:t>Cornelis Networks Advantage</a:t>
              </a:r>
            </a:p>
          </p:txBody>
        </p:sp>
      </p:grpSp>
      <p:pic>
        <p:nvPicPr>
          <p:cNvPr id="18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54B02841-EA6E-FF3E-D769-8C59D8F167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44201" y="335760"/>
            <a:ext cx="1341489" cy="39513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C8BA88B-E595-9438-36EB-20FCC414ECDE}"/>
              </a:ext>
            </a:extLst>
          </p:cNvPr>
          <p:cNvSpPr/>
          <p:nvPr/>
        </p:nvSpPr>
        <p:spPr>
          <a:xfrm>
            <a:off x="7876514" y="3587434"/>
            <a:ext cx="3617613" cy="18438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800" b="1" dirty="0">
              <a:solidFill>
                <a:schemeClr val="tx1">
                  <a:lumMod val="65000"/>
                  <a:lumOff val="35000"/>
                </a:schemeClr>
              </a:solidFill>
              <a:highlight>
                <a:srgbClr val="FFFF00"/>
              </a:highlight>
              <a:latin typeface="Arial"/>
              <a:cs typeface="Calibri" panose="020F0502020204030204"/>
            </a:endParaRP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Calibri" panose="020F0502020204030204"/>
              </a:rPr>
              <a:t>Ansys POC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Calibri" panose="020F0502020204030204"/>
            </a:endParaRPr>
          </a:p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Calibri" panose="020F0502020204030204"/>
              </a:rPr>
              <a:t>Babis </a:t>
            </a:r>
            <a:r>
              <a:rPr lang="en-US" sz="1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Calibri" panose="020F0502020204030204"/>
              </a:rPr>
              <a:t>Bakolias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Calibri" panose="020F0502020204030204"/>
            </a:endParaRPr>
          </a:p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Calibri"/>
                <a:cs typeface="Calibri" panose="020F0502020204030204"/>
              </a:rPr>
              <a:t>Partner Manager</a:t>
            </a:r>
          </a:p>
          <a:p>
            <a:r>
              <a:rPr lang="en-US" sz="1100" dirty="0">
                <a:solidFill>
                  <a:schemeClr val="accent1"/>
                </a:solidFill>
                <a:latin typeface="Arial"/>
                <a:cs typeface="Calibri" panose="020F0502020204030204"/>
              </a:rPr>
              <a:t>Babis.bakolias@ansys.com</a:t>
            </a:r>
          </a:p>
          <a:p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Calibri" panose="020F0502020204030204"/>
            </a:endParaRPr>
          </a:p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Calibri" panose="020F0502020204030204"/>
              </a:rPr>
              <a:t>Cornelis Networks POC</a:t>
            </a:r>
          </a:p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Scott Hurst</a:t>
            </a:r>
          </a:p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Software Partnerships Lead</a:t>
            </a:r>
          </a:p>
          <a:p>
            <a:r>
              <a:rPr lang="en-US" sz="1100" dirty="0">
                <a:solidFill>
                  <a:schemeClr val="accent1"/>
                </a:solidFill>
                <a:latin typeface="Arial"/>
                <a:cs typeface="Arial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ott.hurst@cornelisnetworks.com</a:t>
            </a:r>
            <a:r>
              <a:rPr lang="en-US" sz="1100" dirty="0">
                <a:solidFill>
                  <a:schemeClr val="accent1"/>
                </a:solidFill>
                <a:latin typeface="Arial"/>
                <a:cs typeface="Arial"/>
              </a:rPr>
              <a:t> </a:t>
            </a:r>
          </a:p>
          <a:p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ea typeface="Calibri"/>
              <a:cs typeface="Calibri"/>
            </a:endParaRPr>
          </a:p>
          <a:p>
            <a:endParaRPr lang="en-US" sz="8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Calibri" panose="020F0502020204030204"/>
            </a:endParaRPr>
          </a:p>
          <a:p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Calibri" panose="020F0502020204030204"/>
            </a:endParaRPr>
          </a:p>
          <a:p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Calibri" panose="020F0502020204030204"/>
            </a:endParaRPr>
          </a:p>
          <a:p>
            <a:endParaRPr lang="en-US" sz="9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Calibri" panose="020F0502020204030204"/>
            </a:endParaRPr>
          </a:p>
          <a:p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Calibri" panose="020F0502020204030204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1E58BD-E303-56A2-2B7E-1B4283DCF612}"/>
              </a:ext>
            </a:extLst>
          </p:cNvPr>
          <p:cNvSpPr/>
          <p:nvPr/>
        </p:nvSpPr>
        <p:spPr>
          <a:xfrm>
            <a:off x="4100184" y="3588538"/>
            <a:ext cx="3462950" cy="16424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595959"/>
                </a:solidFill>
                <a:latin typeface="Arial"/>
                <a:ea typeface="Arial"/>
                <a:cs typeface="Arial"/>
              </a:rPr>
              <a:t>Best price/ performance for AI and HPC workloads</a:t>
            </a:r>
            <a:endParaRPr lang="en-US" sz="2400" dirty="0">
              <a:solidFill>
                <a:srgbClr val="FFFFFF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595959"/>
                </a:solidFill>
                <a:latin typeface="Arial"/>
                <a:ea typeface="Arial"/>
                <a:cs typeface="Arial"/>
              </a:rPr>
              <a:t>Better performance </a:t>
            </a: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595959"/>
                </a:solidFill>
                <a:latin typeface="Arial"/>
                <a:ea typeface="Arial"/>
                <a:cs typeface="Arial"/>
              </a:rPr>
              <a:t>4-6 week lead times for OPA 100</a:t>
            </a:r>
            <a:endParaRPr lang="en-US" sz="2400" dirty="0">
              <a:solidFill>
                <a:srgbClr val="FFFFFF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595959"/>
                </a:solidFill>
                <a:latin typeface="Arial"/>
                <a:ea typeface="Arial"/>
                <a:cs typeface="Arial"/>
              </a:rPr>
              <a:t>Increase node count  </a:t>
            </a:r>
            <a:endParaRPr lang="en-US" sz="2400" dirty="0">
              <a:solidFill>
                <a:srgbClr val="FFFFFF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595959"/>
                </a:solidFill>
                <a:latin typeface="Arial"/>
                <a:ea typeface="Arial"/>
                <a:cs typeface="Arial"/>
              </a:rPr>
              <a:t>Increase gross margins</a:t>
            </a:r>
            <a:endParaRPr lang="en-US" sz="2400" dirty="0">
              <a:solidFill>
                <a:srgbClr val="FFFFFF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Arial"/>
              <a:buChar char="•"/>
            </a:pPr>
            <a:r>
              <a:rPr lang="en-US" sz="1100" b="1" dirty="0">
                <a:solidFill>
                  <a:srgbClr val="595959"/>
                </a:solidFill>
                <a:latin typeface="Arial"/>
                <a:ea typeface="Arial"/>
                <a:cs typeface="Arial"/>
              </a:rPr>
              <a:t>Improve competitiveness with reduced full solution price </a:t>
            </a:r>
            <a:endParaRPr lang="en-US" sz="2400" dirty="0">
              <a:solidFill>
                <a:srgbClr val="FFFFFF"/>
              </a:solidFill>
              <a:latin typeface="Calibri" panose="020F0502020204030204"/>
              <a:ea typeface="Calibri" panose="020F0502020204030204"/>
              <a:cs typeface="Calibri" panose="020F0502020204030204"/>
            </a:endParaRPr>
          </a:p>
          <a:p>
            <a:pPr marL="171450" indent="-171450">
              <a:buFont typeface="Wingdings,Sans-Serif"/>
              <a:buChar char="Ø"/>
            </a:pPr>
            <a:endParaRPr lang="en-US" sz="1000" b="1" dirty="0">
              <a:solidFill>
                <a:srgbClr val="595959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329358-F363-2E85-1DA4-6C3EED2F11E7}"/>
              </a:ext>
            </a:extLst>
          </p:cNvPr>
          <p:cNvSpPr txBox="1"/>
          <p:nvPr/>
        </p:nvSpPr>
        <p:spPr>
          <a:xfrm>
            <a:off x="10226588" y="6054574"/>
            <a:ext cx="1272832" cy="4089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0780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ViNG_2YEOo4uDU0jkylA"/>
  <p:tag name="L" val="14.20087"/>
  <p:tag name="T" val="78.1441"/>
  <p:tag name="H" val="18"/>
  <p:tag name="W" val="24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ViNG_2YEOo4uDU0jkylA"/>
  <p:tag name="L" val="14.20087"/>
  <p:tag name="T" val="78.1441"/>
  <p:tag name="H" val="18"/>
  <p:tag name="W" val="24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ViNG_2YEOo4uDU0jkylA"/>
  <p:tag name="L" val="14.20087"/>
  <p:tag name="T" val="78.1441"/>
  <p:tag name="H" val="18"/>
  <p:tag name="W" val="24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ViNG_2YEOo4uDU0jkylA"/>
  <p:tag name="L" val="14.20087"/>
  <p:tag name="T" val="78.1441"/>
  <p:tag name="H" val="18"/>
  <p:tag name="W" val="24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ViNG_2YEOo4uDU0jkylA"/>
  <p:tag name="L" val="14.20087"/>
  <p:tag name="T" val="78.1441"/>
  <p:tag name="H" val="18"/>
  <p:tag name="W" val="245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64242417-A039-4183-BA3B-B4DE61EB142D}" vid="{958D9EC7-7706-44F8-8EF4-0C5659858E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884</TotalTime>
  <Words>583</Words>
  <Application>Microsoft Office PowerPoint</Application>
  <PresentationFormat>Widescreen</PresentationFormat>
  <Paragraphs>135</Paragraphs>
  <Slides>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Arial </vt:lpstr>
      <vt:lpstr>Arial Black</vt:lpstr>
      <vt:lpstr>Arial,Sans-Serif</vt:lpstr>
      <vt:lpstr>Calibri</vt:lpstr>
      <vt:lpstr>Calibri Light</vt:lpstr>
      <vt:lpstr>Wingdings</vt:lpstr>
      <vt:lpstr>Wingdings,Sans-Serif</vt:lpstr>
      <vt:lpstr>1_Office Theme</vt:lpstr>
      <vt:lpstr>Office Theme</vt:lpstr>
      <vt:lpstr>Ansys| Cornelis Networks Partner Offerings (Battle Cards)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Hurst, Scott</cp:lastModifiedBy>
  <cp:revision>27</cp:revision>
  <dcterms:created xsi:type="dcterms:W3CDTF">2023-11-02T18:38:01Z</dcterms:created>
  <dcterms:modified xsi:type="dcterms:W3CDTF">2024-01-03T19:54:45Z</dcterms:modified>
</cp:coreProperties>
</file>